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.xml" ContentType="application/vnd.openxmlformats-officedocument.presentationml.notesSlide+xml"/>
  <Override PartName="/ppt/charts/chart2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069" r:id="rId2"/>
    <p:sldId id="1089" r:id="rId3"/>
    <p:sldId id="1110" r:id="rId4"/>
    <p:sldId id="1104" r:id="rId5"/>
    <p:sldId id="1109" r:id="rId6"/>
    <p:sldId id="1084" r:id="rId7"/>
    <p:sldId id="1085" r:id="rId8"/>
    <p:sldId id="1107" r:id="rId9"/>
    <p:sldId id="1108" r:id="rId10"/>
    <p:sldId id="1112" r:id="rId11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 Curkovic" initials="MC" lastIdx="2" clrIdx="0">
    <p:extLst>
      <p:ext uri="{19B8F6BF-5375-455C-9EA6-DF929625EA0E}">
        <p15:presenceInfo xmlns:p15="http://schemas.microsoft.com/office/powerpoint/2012/main" userId="b3cc2e52765cba1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C0ED"/>
    <a:srgbClr val="FF7C80"/>
    <a:srgbClr val="75829A"/>
    <a:srgbClr val="0070C0"/>
    <a:srgbClr val="00B0F0"/>
    <a:srgbClr val="FF5050"/>
    <a:srgbClr val="007787"/>
    <a:srgbClr val="2EC4B6"/>
    <a:srgbClr val="C7990B"/>
    <a:srgbClr val="2F3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60" autoAdjust="0"/>
    <p:restoredTop sz="97579" autoAdjust="0"/>
  </p:normalViewPr>
  <p:slideViewPr>
    <p:cSldViewPr snapToGrid="0">
      <p:cViewPr varScale="1">
        <p:scale>
          <a:sx n="107" d="100"/>
          <a:sy n="107" d="100"/>
        </p:scale>
        <p:origin x="1254" y="96"/>
      </p:cViewPr>
      <p:guideLst>
        <p:guide orient="horz" pos="404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197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7428000000000002</c:v>
                </c:pt>
                <c:pt idx="1">
                  <c:v>0.17280799999999999</c:v>
                </c:pt>
                <c:pt idx="2">
                  <c:v>0.12995499999999999</c:v>
                </c:pt>
                <c:pt idx="3">
                  <c:v>7.041E-2</c:v>
                </c:pt>
                <c:pt idx="4">
                  <c:v>5.7727000000000001E-2</c:v>
                </c:pt>
                <c:pt idx="5">
                  <c:v>4.1037999999999998E-2</c:v>
                </c:pt>
                <c:pt idx="6">
                  <c:v>2.2176000000000001E-2</c:v>
                </c:pt>
                <c:pt idx="7">
                  <c:v>1.8522E-2</c:v>
                </c:pt>
                <c:pt idx="8">
                  <c:v>1.7957000000000001E-2</c:v>
                </c:pt>
                <c:pt idx="9">
                  <c:v>1.4672000000000001E-2</c:v>
                </c:pt>
                <c:pt idx="10">
                  <c:v>1.3968000000000001E-2</c:v>
                </c:pt>
                <c:pt idx="11">
                  <c:v>1.2126E-2</c:v>
                </c:pt>
                <c:pt idx="12">
                  <c:v>1.2005999999999999E-2</c:v>
                </c:pt>
                <c:pt idx="13">
                  <c:v>1.0558000000000001E-2</c:v>
                </c:pt>
                <c:pt idx="14">
                  <c:v>1.0265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7099999999999997</c:v>
                </c:pt>
                <c:pt idx="1">
                  <c:v>0.41899999999999998</c:v>
                </c:pt>
                <c:pt idx="2">
                  <c:v>0.26200000000000001</c:v>
                </c:pt>
                <c:pt idx="3">
                  <c:v>0.23899999999999999</c:v>
                </c:pt>
                <c:pt idx="4">
                  <c:v>0.224</c:v>
                </c:pt>
                <c:pt idx="5">
                  <c:v>0.217</c:v>
                </c:pt>
                <c:pt idx="6">
                  <c:v>0.19700000000000001</c:v>
                </c:pt>
                <c:pt idx="7">
                  <c:v>0.16600000000000001</c:v>
                </c:pt>
                <c:pt idx="8">
                  <c:v>0.157</c:v>
                </c:pt>
                <c:pt idx="9">
                  <c:v>0.129</c:v>
                </c:pt>
                <c:pt idx="10">
                  <c:v>0.128</c:v>
                </c:pt>
                <c:pt idx="11">
                  <c:v>0.125</c:v>
                </c:pt>
                <c:pt idx="12">
                  <c:v>0.1205</c:v>
                </c:pt>
                <c:pt idx="13">
                  <c:v>0.1158</c:v>
                </c:pt>
                <c:pt idx="14">
                  <c:v>0.112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21</c:v>
                </c:pt>
                <c:pt idx="1">
                  <c:v>0.58299999999999996</c:v>
                </c:pt>
                <c:pt idx="2">
                  <c:v>0.44400000000000001</c:v>
                </c:pt>
                <c:pt idx="3">
                  <c:v>0.47799999999999998</c:v>
                </c:pt>
                <c:pt idx="4">
                  <c:v>0.48899999999999999</c:v>
                </c:pt>
                <c:pt idx="5">
                  <c:v>0.35099999999999998</c:v>
                </c:pt>
                <c:pt idx="6">
                  <c:v>0.23499999999999999</c:v>
                </c:pt>
                <c:pt idx="7">
                  <c:v>0.38</c:v>
                </c:pt>
                <c:pt idx="8">
                  <c:v>0.28899999999999998</c:v>
                </c:pt>
                <c:pt idx="9">
                  <c:v>0.17699999999999999</c:v>
                </c:pt>
                <c:pt idx="10">
                  <c:v>0.21099999999999999</c:v>
                </c:pt>
                <c:pt idx="11">
                  <c:v>0.20599999999999999</c:v>
                </c:pt>
                <c:pt idx="12">
                  <c:v>0.16370000000000001</c:v>
                </c:pt>
                <c:pt idx="13">
                  <c:v>0.21029999999999999</c:v>
                </c:pt>
                <c:pt idx="14">
                  <c:v>0.23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1599999999999995</c:v>
                </c:pt>
                <c:pt idx="1">
                  <c:v>0.72499999999999998</c:v>
                </c:pt>
                <c:pt idx="2">
                  <c:v>0.502</c:v>
                </c:pt>
                <c:pt idx="3">
                  <c:v>0.50800000000000001</c:v>
                </c:pt>
                <c:pt idx="4">
                  <c:v>0.51600000000000001</c:v>
                </c:pt>
                <c:pt idx="5">
                  <c:v>0.438</c:v>
                </c:pt>
                <c:pt idx="6">
                  <c:v>0.53300000000000003</c:v>
                </c:pt>
                <c:pt idx="7">
                  <c:v>0.35199999999999998</c:v>
                </c:pt>
                <c:pt idx="8">
                  <c:v>0.42299999999999999</c:v>
                </c:pt>
                <c:pt idx="9">
                  <c:v>0.26700000000000002</c:v>
                </c:pt>
                <c:pt idx="10">
                  <c:v>0.307</c:v>
                </c:pt>
                <c:pt idx="11">
                  <c:v>0.30599999999999999</c:v>
                </c:pt>
                <c:pt idx="12">
                  <c:v>0.3765</c:v>
                </c:pt>
                <c:pt idx="13">
                  <c:v>0.2586</c:v>
                </c:pt>
                <c:pt idx="14">
                  <c:v>0.2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6.6077999999999998E-2</c:v>
                </c:pt>
                <c:pt idx="1">
                  <c:v>3.8737000000000001E-2</c:v>
                </c:pt>
                <c:pt idx="2">
                  <c:v>2.1151E-2</c:v>
                </c:pt>
                <c:pt idx="3">
                  <c:v>1.8301000000000001E-2</c:v>
                </c:pt>
                <c:pt idx="4">
                  <c:v>1.7609E-2</c:v>
                </c:pt>
                <c:pt idx="5">
                  <c:v>1.5765999999999999E-2</c:v>
                </c:pt>
                <c:pt idx="6">
                  <c:v>1.5637000000000002E-2</c:v>
                </c:pt>
                <c:pt idx="7">
                  <c:v>1.5595000000000001E-2</c:v>
                </c:pt>
                <c:pt idx="8">
                  <c:v>1.5208999999999999E-2</c:v>
                </c:pt>
                <c:pt idx="9">
                  <c:v>1.4958000000000001E-2</c:v>
                </c:pt>
                <c:pt idx="10">
                  <c:v>1.4475999999999999E-2</c:v>
                </c:pt>
                <c:pt idx="11">
                  <c:v>1.4081999999999999E-2</c:v>
                </c:pt>
                <c:pt idx="12">
                  <c:v>1.4033E-2</c:v>
                </c:pt>
                <c:pt idx="13">
                  <c:v>1.3967E-2</c:v>
                </c:pt>
                <c:pt idx="14">
                  <c:v>1.3966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6709700000000002</c:v>
                </c:pt>
                <c:pt idx="1">
                  <c:v>8.1821000000000005E-2</c:v>
                </c:pt>
                <c:pt idx="2">
                  <c:v>5.0613999999999999E-2</c:v>
                </c:pt>
                <c:pt idx="3">
                  <c:v>5.8791999999999997E-2</c:v>
                </c:pt>
                <c:pt idx="4">
                  <c:v>5.7859999999999995E-2</c:v>
                </c:pt>
                <c:pt idx="5">
                  <c:v>1.5855999999999999E-2</c:v>
                </c:pt>
                <c:pt idx="6">
                  <c:v>6.5679000000000001E-2</c:v>
                </c:pt>
                <c:pt idx="7">
                  <c:v>2.1009000000000003E-2</c:v>
                </c:pt>
                <c:pt idx="8">
                  <c:v>1.8748000000000001E-2</c:v>
                </c:pt>
                <c:pt idx="9">
                  <c:v>2.8900000000000002E-2</c:v>
                </c:pt>
                <c:pt idx="10">
                  <c:v>2.4136999999999999E-2</c:v>
                </c:pt>
                <c:pt idx="11">
                  <c:v>1.6528000000000001E-2</c:v>
                </c:pt>
                <c:pt idx="12">
                  <c:v>3.2688000000000002E-2</c:v>
                </c:pt>
                <c:pt idx="13">
                  <c:v>5.9057999999999999E-2</c:v>
                </c:pt>
                <c:pt idx="14">
                  <c:v>1.46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29521</c:v>
                </c:pt>
                <c:pt idx="1">
                  <c:v>8.1347000000000003E-2</c:v>
                </c:pt>
                <c:pt idx="2">
                  <c:v>4.7969999999999999E-2</c:v>
                </c:pt>
                <c:pt idx="3">
                  <c:v>4.1356999999999998E-2</c:v>
                </c:pt>
                <c:pt idx="4">
                  <c:v>4.1273999999999998E-2</c:v>
                </c:pt>
                <c:pt idx="5">
                  <c:v>6.8922999999999998E-2</c:v>
                </c:pt>
                <c:pt idx="6">
                  <c:v>3.6215999999999998E-2</c:v>
                </c:pt>
                <c:pt idx="7">
                  <c:v>3.5964000000000003E-2</c:v>
                </c:pt>
                <c:pt idx="8">
                  <c:v>4.4874999999999998E-2</c:v>
                </c:pt>
                <c:pt idx="9">
                  <c:v>3.9345999999999999E-2</c:v>
                </c:pt>
                <c:pt idx="10">
                  <c:v>3.7427000000000002E-2</c:v>
                </c:pt>
                <c:pt idx="11">
                  <c:v>5.8869999999999999E-2</c:v>
                </c:pt>
                <c:pt idx="12">
                  <c:v>3.0495000000000001E-2</c:v>
                </c:pt>
                <c:pt idx="13">
                  <c:v>3.0088E-2</c:v>
                </c:pt>
                <c:pt idx="14">
                  <c:v>4.339299999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06013</c:v>
                </c:pt>
                <c:pt idx="1">
                  <c:v>6.9220000000000004E-2</c:v>
                </c:pt>
                <c:pt idx="2">
                  <c:v>6.6027000000000002E-2</c:v>
                </c:pt>
                <c:pt idx="3">
                  <c:v>3.1537000000000003E-2</c:v>
                </c:pt>
                <c:pt idx="4">
                  <c:v>2.5381000000000001E-2</c:v>
                </c:pt>
                <c:pt idx="5">
                  <c:v>1.5403999999999999E-2</c:v>
                </c:pt>
                <c:pt idx="6">
                  <c:v>6.3530000000000001E-3</c:v>
                </c:pt>
                <c:pt idx="7">
                  <c:v>5.2399999999999999E-3</c:v>
                </c:pt>
                <c:pt idx="8">
                  <c:v>5.1870000000000006E-3</c:v>
                </c:pt>
                <c:pt idx="9">
                  <c:v>4.9919999999999999E-3</c:v>
                </c:pt>
                <c:pt idx="10">
                  <c:v>4.5579999999999996E-3</c:v>
                </c:pt>
                <c:pt idx="11">
                  <c:v>4.5190000000000004E-3</c:v>
                </c:pt>
                <c:pt idx="12">
                  <c:v>3.9550000000000002E-3</c:v>
                </c:pt>
                <c:pt idx="13">
                  <c:v>3.5479999999999999E-3</c:v>
                </c:pt>
                <c:pt idx="14">
                  <c:v>3.487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0815599999999999</c:v>
                </c:pt>
                <c:pt idx="1">
                  <c:v>0.76542299999999996</c:v>
                </c:pt>
                <c:pt idx="2">
                  <c:v>0.76402800000000004</c:v>
                </c:pt>
                <c:pt idx="3">
                  <c:v>0.7532049999999999</c:v>
                </c:pt>
                <c:pt idx="4">
                  <c:v>0.63810999999999996</c:v>
                </c:pt>
                <c:pt idx="5">
                  <c:v>0.59969099999999997</c:v>
                </c:pt>
                <c:pt idx="6">
                  <c:v>0.39931800000000001</c:v>
                </c:pt>
                <c:pt idx="7">
                  <c:v>0.46380099999999996</c:v>
                </c:pt>
                <c:pt idx="8">
                  <c:v>0.16013000000000002</c:v>
                </c:pt>
                <c:pt idx="9">
                  <c:v>0.44286999999999999</c:v>
                </c:pt>
                <c:pt idx="10">
                  <c:v>0.34863900000000003</c:v>
                </c:pt>
                <c:pt idx="11">
                  <c:v>0.33070099999999997</c:v>
                </c:pt>
                <c:pt idx="12">
                  <c:v>0.56121200000000004</c:v>
                </c:pt>
                <c:pt idx="13">
                  <c:v>0.39018599999999998</c:v>
                </c:pt>
                <c:pt idx="14">
                  <c:v>9.4662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23-4B8D-8BC6-5D7B186A741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823-4B8D-8BC6-5D7B186A741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823-4B8D-8BC6-5D7B186A741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823-4B8D-8BC6-5D7B186A741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823-4B8D-8BC6-5D7B186A741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823-4B8D-8BC6-5D7B186A741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823-4B8D-8BC6-5D7B186A741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823-4B8D-8BC6-5D7B186A741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823-4B8D-8BC6-5D7B186A741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823-4B8D-8BC6-5D7B186A74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39593</c:v>
                </c:pt>
                <c:pt idx="1">
                  <c:v>0.16123999999999999</c:v>
                </c:pt>
                <c:pt idx="2">
                  <c:v>0.15425700000000001</c:v>
                </c:pt>
                <c:pt idx="3">
                  <c:v>7.4061000000000002E-2</c:v>
                </c:pt>
                <c:pt idx="4">
                  <c:v>5.9137000000000002E-2</c:v>
                </c:pt>
                <c:pt idx="5">
                  <c:v>3.6055000000000004E-2</c:v>
                </c:pt>
                <c:pt idx="6">
                  <c:v>1.485E-2</c:v>
                </c:pt>
                <c:pt idx="7">
                  <c:v>1.2272E-2</c:v>
                </c:pt>
                <c:pt idx="8">
                  <c:v>1.2081E-2</c:v>
                </c:pt>
                <c:pt idx="9">
                  <c:v>1.1854E-2</c:v>
                </c:pt>
                <c:pt idx="10">
                  <c:v>1.0671999999999999E-2</c:v>
                </c:pt>
                <c:pt idx="11">
                  <c:v>1.0605E-2</c:v>
                </c:pt>
                <c:pt idx="12">
                  <c:v>9.2960000000000004E-3</c:v>
                </c:pt>
                <c:pt idx="13">
                  <c:v>8.3990000000000002E-3</c:v>
                </c:pt>
                <c:pt idx="14">
                  <c:v>8.153000000000000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23-4B8D-8BC6-5D7B186A7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2272E-2</c:v>
                </c:pt>
                <c:pt idx="1">
                  <c:v>1.2081E-2</c:v>
                </c:pt>
                <c:pt idx="2">
                  <c:v>1.1854E-2</c:v>
                </c:pt>
                <c:pt idx="3">
                  <c:v>1.0671999999999999E-2</c:v>
                </c:pt>
                <c:pt idx="4">
                  <c:v>1.0605E-2</c:v>
                </c:pt>
                <c:pt idx="5">
                  <c:v>8.3990000000000002E-3</c:v>
                </c:pt>
                <c:pt idx="6">
                  <c:v>8.1530000000000005E-3</c:v>
                </c:pt>
                <c:pt idx="7">
                  <c:v>7.1879999999999999E-3</c:v>
                </c:pt>
                <c:pt idx="8">
                  <c:v>6.7930000000000004E-3</c:v>
                </c:pt>
                <c:pt idx="9">
                  <c:v>6.4739999999999997E-3</c:v>
                </c:pt>
                <c:pt idx="10">
                  <c:v>6.0160000000000005E-3</c:v>
                </c:pt>
                <c:pt idx="11">
                  <c:v>5.7269999999999995E-3</c:v>
                </c:pt>
                <c:pt idx="12">
                  <c:v>5.5169999999999993E-3</c:v>
                </c:pt>
                <c:pt idx="13">
                  <c:v>5.2329999999999998E-3</c:v>
                </c:pt>
                <c:pt idx="14">
                  <c:v>5.102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1712999999999993E-2</c:v>
                </c:pt>
                <c:pt idx="1">
                  <c:v>4.0929E-2</c:v>
                </c:pt>
                <c:pt idx="2">
                  <c:v>3.0703000000000001E-2</c:v>
                </c:pt>
                <c:pt idx="3">
                  <c:v>1.6695000000000002E-2</c:v>
                </c:pt>
                <c:pt idx="4">
                  <c:v>1.3616E-2</c:v>
                </c:pt>
                <c:pt idx="5">
                  <c:v>9.6469999999999993E-3</c:v>
                </c:pt>
                <c:pt idx="6">
                  <c:v>5.2490000000000002E-3</c:v>
                </c:pt>
                <c:pt idx="7">
                  <c:v>4.3559999999999996E-3</c:v>
                </c:pt>
                <c:pt idx="8">
                  <c:v>4.2370000000000003E-3</c:v>
                </c:pt>
                <c:pt idx="9">
                  <c:v>3.4760000000000004E-3</c:v>
                </c:pt>
                <c:pt idx="10">
                  <c:v>3.307E-3</c:v>
                </c:pt>
                <c:pt idx="11">
                  <c:v>2.8710000000000003E-3</c:v>
                </c:pt>
                <c:pt idx="12">
                  <c:v>2.846E-3</c:v>
                </c:pt>
                <c:pt idx="13">
                  <c:v>2.4970000000000001E-3</c:v>
                </c:pt>
                <c:pt idx="14">
                  <c:v>2.41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5.2399999999999999E-3</c:v>
                </c:pt>
                <c:pt idx="1">
                  <c:v>5.1870000000000006E-3</c:v>
                </c:pt>
                <c:pt idx="2">
                  <c:v>4.9919999999999999E-3</c:v>
                </c:pt>
                <c:pt idx="3">
                  <c:v>4.5579999999999996E-3</c:v>
                </c:pt>
                <c:pt idx="4">
                  <c:v>4.5190000000000004E-3</c:v>
                </c:pt>
                <c:pt idx="5">
                  <c:v>3.5479999999999999E-3</c:v>
                </c:pt>
                <c:pt idx="6">
                  <c:v>3.4870000000000001E-3</c:v>
                </c:pt>
                <c:pt idx="7">
                  <c:v>3.0839999999999999E-3</c:v>
                </c:pt>
                <c:pt idx="8">
                  <c:v>2.8930000000000002E-3</c:v>
                </c:pt>
                <c:pt idx="9">
                  <c:v>2.7939999999999996E-3</c:v>
                </c:pt>
                <c:pt idx="10">
                  <c:v>2.6019999999999997E-3</c:v>
                </c:pt>
                <c:pt idx="11">
                  <c:v>2.441E-3</c:v>
                </c:pt>
                <c:pt idx="12">
                  <c:v>2.385E-3</c:v>
                </c:pt>
                <c:pt idx="13">
                  <c:v>2.2729999999999998E-3</c:v>
                </c:pt>
                <c:pt idx="14">
                  <c:v>2.18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CineStar TV1</c:v>
                </c:pt>
                <c:pt idx="1">
                  <c:v>Nickelodeon</c:v>
                </c:pt>
                <c:pt idx="2">
                  <c:v>CineStar TV Action</c:v>
                </c:pt>
                <c:pt idx="3">
                  <c:v>FOX Crime</c:v>
                </c:pt>
                <c:pt idx="4">
                  <c:v>National Geographic</c:v>
                </c:pt>
                <c:pt idx="5">
                  <c:v>FOX Movies</c:v>
                </c:pt>
                <c:pt idx="6">
                  <c:v>Nick Jr (HR)</c:v>
                </c:pt>
                <c:pt idx="7">
                  <c:v>Pickbox TV</c:v>
                </c:pt>
                <c:pt idx="8">
                  <c:v>CineStar TV Premiere 1</c:v>
                </c:pt>
                <c:pt idx="9">
                  <c:v>Arena Sport 1</c:v>
                </c:pt>
                <c:pt idx="10">
                  <c:v>FOX</c:v>
                </c:pt>
                <c:pt idx="11">
                  <c:v>CineStar TV Premiere 2</c:v>
                </c:pt>
                <c:pt idx="12">
                  <c:v>FOX Life</c:v>
                </c:pt>
                <c:pt idx="13">
                  <c:v>Diva</c:v>
                </c:pt>
                <c:pt idx="14">
                  <c:v>BBC First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6380099999999996</c:v>
                </c:pt>
                <c:pt idx="1">
                  <c:v>0.16013000000000002</c:v>
                </c:pt>
                <c:pt idx="2">
                  <c:v>0.44286999999999999</c:v>
                </c:pt>
                <c:pt idx="3">
                  <c:v>0.34863900000000003</c:v>
                </c:pt>
                <c:pt idx="4">
                  <c:v>0.33070099999999997</c:v>
                </c:pt>
                <c:pt idx="5">
                  <c:v>0.39018599999999998</c:v>
                </c:pt>
                <c:pt idx="6">
                  <c:v>9.466200000000001E-2</c:v>
                </c:pt>
                <c:pt idx="7">
                  <c:v>0.30541299999999999</c:v>
                </c:pt>
                <c:pt idx="8">
                  <c:v>0.29652999999999996</c:v>
                </c:pt>
                <c:pt idx="9">
                  <c:v>0.31080999999999998</c:v>
                </c:pt>
                <c:pt idx="10">
                  <c:v>0.35449900000000001</c:v>
                </c:pt>
                <c:pt idx="11">
                  <c:v>0.288665</c:v>
                </c:pt>
                <c:pt idx="12">
                  <c:v>0.33386299999999997</c:v>
                </c:pt>
                <c:pt idx="13">
                  <c:v>0.3261</c:v>
                </c:pt>
                <c:pt idx="14">
                  <c:v>0.22830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7099999999999997</c:v>
                </c:pt>
                <c:pt idx="1">
                  <c:v>0.41899999999999998</c:v>
                </c:pt>
                <c:pt idx="2">
                  <c:v>0.26200000000000001</c:v>
                </c:pt>
                <c:pt idx="3">
                  <c:v>0.23899999999999999</c:v>
                </c:pt>
                <c:pt idx="4">
                  <c:v>0.224</c:v>
                </c:pt>
                <c:pt idx="5">
                  <c:v>0.217</c:v>
                </c:pt>
                <c:pt idx="6">
                  <c:v>0.16600000000000001</c:v>
                </c:pt>
                <c:pt idx="7">
                  <c:v>0.129</c:v>
                </c:pt>
                <c:pt idx="8">
                  <c:v>0.125</c:v>
                </c:pt>
                <c:pt idx="9">
                  <c:v>0.11600000000000001</c:v>
                </c:pt>
                <c:pt idx="10">
                  <c:v>0.112</c:v>
                </c:pt>
                <c:pt idx="11">
                  <c:v>0.111</c:v>
                </c:pt>
                <c:pt idx="12">
                  <c:v>0.11</c:v>
                </c:pt>
                <c:pt idx="13">
                  <c:v>0.106</c:v>
                </c:pt>
                <c:pt idx="14">
                  <c:v>0.10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21</c:v>
                </c:pt>
                <c:pt idx="1">
                  <c:v>0.58299999999999996</c:v>
                </c:pt>
                <c:pt idx="2">
                  <c:v>0.443</c:v>
                </c:pt>
                <c:pt idx="3">
                  <c:v>0.47799999999999998</c:v>
                </c:pt>
                <c:pt idx="4">
                  <c:v>0.48899999999999999</c:v>
                </c:pt>
                <c:pt idx="5">
                  <c:v>0.35</c:v>
                </c:pt>
                <c:pt idx="6">
                  <c:v>0.38</c:v>
                </c:pt>
                <c:pt idx="7">
                  <c:v>0.17699999999999999</c:v>
                </c:pt>
                <c:pt idx="8">
                  <c:v>0.20599999999999999</c:v>
                </c:pt>
                <c:pt idx="9">
                  <c:v>0.21</c:v>
                </c:pt>
                <c:pt idx="10">
                  <c:v>0.23300000000000001</c:v>
                </c:pt>
                <c:pt idx="11">
                  <c:v>0.192</c:v>
                </c:pt>
                <c:pt idx="12">
                  <c:v>0.22</c:v>
                </c:pt>
                <c:pt idx="13">
                  <c:v>0.23300000000000001</c:v>
                </c:pt>
                <c:pt idx="14">
                  <c:v>0.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1599999999999995</c:v>
                </c:pt>
                <c:pt idx="1">
                  <c:v>0.72499999999999998</c:v>
                </c:pt>
                <c:pt idx="2">
                  <c:v>0.502</c:v>
                </c:pt>
                <c:pt idx="3">
                  <c:v>0.50800000000000001</c:v>
                </c:pt>
                <c:pt idx="4">
                  <c:v>0.51600000000000001</c:v>
                </c:pt>
                <c:pt idx="5">
                  <c:v>0.438</c:v>
                </c:pt>
                <c:pt idx="6">
                  <c:v>0.35199999999999998</c:v>
                </c:pt>
                <c:pt idx="7">
                  <c:v>0.26700000000000002</c:v>
                </c:pt>
                <c:pt idx="8">
                  <c:v>0.30599999999999999</c:v>
                </c:pt>
                <c:pt idx="9">
                  <c:v>0.25900000000000001</c:v>
                </c:pt>
                <c:pt idx="10">
                  <c:v>0.23799999999999999</c:v>
                </c:pt>
                <c:pt idx="11">
                  <c:v>0.23400000000000001</c:v>
                </c:pt>
                <c:pt idx="12">
                  <c:v>0.221</c:v>
                </c:pt>
                <c:pt idx="13">
                  <c:v>0.21199999999999999</c:v>
                </c:pt>
                <c:pt idx="14">
                  <c:v>0.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10-4C81-BA9D-6A273C743E6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10-4C81-BA9D-6A273C743E6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10-4C81-BA9D-6A273C743E6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10-4C81-BA9D-6A273C743E6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10-4C81-BA9D-6A273C743E6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10-4C81-BA9D-6A273C743E6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10-4C81-BA9D-6A273C743E6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10-4C81-BA9D-6A273C743E6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10-4C81-BA9D-6A273C743E6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F10-4C81-BA9D-6A273C743E6C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8.951565763151509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10-4C81-BA9D-6A273C743E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3.8699999999999998E-2</c:v>
                </c:pt>
                <c:pt idx="1">
                  <c:v>1.83E-2</c:v>
                </c:pt>
                <c:pt idx="2">
                  <c:v>1.7600000000000001E-2</c:v>
                </c:pt>
                <c:pt idx="3">
                  <c:v>1.5599999999999999E-2</c:v>
                </c:pt>
                <c:pt idx="4">
                  <c:v>1.5599999999999999E-2</c:v>
                </c:pt>
                <c:pt idx="5">
                  <c:v>1.4E-2</c:v>
                </c:pt>
                <c:pt idx="6">
                  <c:v>1.4E-2</c:v>
                </c:pt>
                <c:pt idx="7">
                  <c:v>1.4E-2</c:v>
                </c:pt>
                <c:pt idx="8">
                  <c:v>1.35E-2</c:v>
                </c:pt>
                <c:pt idx="9">
                  <c:v>1.35E-2</c:v>
                </c:pt>
                <c:pt idx="10">
                  <c:v>1.3299999999999999E-2</c:v>
                </c:pt>
                <c:pt idx="11">
                  <c:v>1.32E-2</c:v>
                </c:pt>
                <c:pt idx="12">
                  <c:v>1.2800000000000001E-2</c:v>
                </c:pt>
                <c:pt idx="13">
                  <c:v>1.26E-2</c:v>
                </c:pt>
                <c:pt idx="14">
                  <c:v>1.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10-4C81-BA9D-6A273C743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EF-47E1-A72A-EE3894030E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EF-47E1-A72A-EE3894030E6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EF-47E1-A72A-EE3894030E6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BEF-47E1-A72A-EE3894030E6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BEF-47E1-A72A-EE3894030E6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BEF-47E1-A72A-EE3894030E6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BEF-47E1-A72A-EE3894030E6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BEF-47E1-A72A-EE3894030E6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BEF-47E1-A72A-EE3894030E6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BEF-47E1-A72A-EE3894030E6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8.1799999999999998E-2</c:v>
                </c:pt>
                <c:pt idx="1">
                  <c:v>5.8799999999999998E-2</c:v>
                </c:pt>
                <c:pt idx="2">
                  <c:v>5.79E-2</c:v>
                </c:pt>
                <c:pt idx="3">
                  <c:v>6.5699999999999995E-2</c:v>
                </c:pt>
                <c:pt idx="4">
                  <c:v>2.1000000000000001E-2</c:v>
                </c:pt>
                <c:pt idx="5">
                  <c:v>3.27E-2</c:v>
                </c:pt>
                <c:pt idx="6">
                  <c:v>5.91E-2</c:v>
                </c:pt>
                <c:pt idx="7">
                  <c:v>1.46E-2</c:v>
                </c:pt>
                <c:pt idx="8">
                  <c:v>5.4600000000000003E-2</c:v>
                </c:pt>
                <c:pt idx="9">
                  <c:v>2.8000000000000001E-2</c:v>
                </c:pt>
                <c:pt idx="10">
                  <c:v>2.3800000000000002E-2</c:v>
                </c:pt>
                <c:pt idx="11">
                  <c:v>1.5800000000000002E-2</c:v>
                </c:pt>
                <c:pt idx="12">
                  <c:v>3.2500000000000001E-2</c:v>
                </c:pt>
                <c:pt idx="13">
                  <c:v>2.2800000000000001E-2</c:v>
                </c:pt>
                <c:pt idx="14">
                  <c:v>5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EF-47E1-A72A-EE3894030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C2-40F6-BECF-681B113C7C4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C2-40F6-BECF-681B113C7C4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AC2-40F6-BECF-681B113C7C4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AC2-40F6-BECF-681B113C7C4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AC2-40F6-BECF-681B113C7C4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AC2-40F6-BECF-681B113C7C4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AC2-40F6-BECF-681B113C7C4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AC2-40F6-BECF-681B113C7C4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AC2-40F6-BECF-681B113C7C4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AC2-40F6-BECF-681B113C7C4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8.1299999999999997E-2</c:v>
                </c:pt>
                <c:pt idx="1">
                  <c:v>4.1399999999999999E-2</c:v>
                </c:pt>
                <c:pt idx="2">
                  <c:v>4.1300000000000003E-2</c:v>
                </c:pt>
                <c:pt idx="3">
                  <c:v>3.6200000000000003E-2</c:v>
                </c:pt>
                <c:pt idx="4">
                  <c:v>3.5999999999999997E-2</c:v>
                </c:pt>
                <c:pt idx="5">
                  <c:v>3.0499999999999999E-2</c:v>
                </c:pt>
                <c:pt idx="6">
                  <c:v>3.0099999999999998E-2</c:v>
                </c:pt>
                <c:pt idx="7">
                  <c:v>4.3400000000000001E-2</c:v>
                </c:pt>
                <c:pt idx="8">
                  <c:v>3.44E-2</c:v>
                </c:pt>
                <c:pt idx="9">
                  <c:v>2.7E-2</c:v>
                </c:pt>
                <c:pt idx="10">
                  <c:v>3.1600000000000003E-2</c:v>
                </c:pt>
                <c:pt idx="11">
                  <c:v>3.95E-2</c:v>
                </c:pt>
                <c:pt idx="12">
                  <c:v>2.9600000000000001E-2</c:v>
                </c:pt>
                <c:pt idx="13">
                  <c:v>3.1E-2</c:v>
                </c:pt>
                <c:pt idx="14">
                  <c:v>3.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AC2-40F6-BECF-681B113C7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G$5</c:f>
              <c:strCache>
                <c:ptCount val="1"/>
                <c:pt idx="0">
                  <c:v>AMR</c:v>
                </c:pt>
              </c:strCache>
            </c:strRef>
          </c:tx>
          <c:spPr>
            <a:solidFill>
              <a:srgbClr val="FF7C80"/>
            </a:solidFill>
            <a:ln>
              <a:solidFill>
                <a:srgbClr val="FF5050"/>
              </a:solidFill>
            </a:ln>
            <a:effectLst/>
          </c:spPr>
          <c:invertIfNegative val="0"/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G$24:$G$35</c:f>
              <c:numCache>
                <c:formatCode>0.00%</c:formatCode>
                <c:ptCount val="12"/>
                <c:pt idx="0">
                  <c:v>0.13769999999999999</c:v>
                </c:pt>
                <c:pt idx="1">
                  <c:v>0.176708</c:v>
                </c:pt>
                <c:pt idx="2">
                  <c:v>0.20319800000000002</c:v>
                </c:pt>
                <c:pt idx="3">
                  <c:v>0.21784100000000001</c:v>
                </c:pt>
                <c:pt idx="4">
                  <c:v>0.225295</c:v>
                </c:pt>
                <c:pt idx="5">
                  <c:v>0.28930600000000001</c:v>
                </c:pt>
                <c:pt idx="6">
                  <c:v>0.29249999999999998</c:v>
                </c:pt>
                <c:pt idx="7">
                  <c:v>0.29078499999999996</c:v>
                </c:pt>
                <c:pt idx="8">
                  <c:v>0.27614499999999997</c:v>
                </c:pt>
                <c:pt idx="9">
                  <c:v>0.27129999999999999</c:v>
                </c:pt>
                <c:pt idx="10">
                  <c:v>0.25769999999999998</c:v>
                </c:pt>
                <c:pt idx="11">
                  <c:v>0.237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3-487F-A522-DF5F6AEBC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1278224"/>
        <c:axId val="631285712"/>
      </c:barChart>
      <c:lineChart>
        <c:grouping val="standard"/>
        <c:varyColors val="0"/>
        <c:ser>
          <c:idx val="1"/>
          <c:order val="1"/>
          <c:tx>
            <c:strRef>
              <c:f>List2!$H$5</c:f>
              <c:strCache>
                <c:ptCount val="1"/>
                <c:pt idx="0">
                  <c:v>A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H$24:$H$35</c:f>
              <c:numCache>
                <c:formatCode>#,##0</c:formatCode>
                <c:ptCount val="12"/>
                <c:pt idx="0" formatCode="0">
                  <c:v>321</c:v>
                </c:pt>
                <c:pt idx="1">
                  <c:v>358.9</c:v>
                </c:pt>
                <c:pt idx="2" formatCode="0">
                  <c:v>375</c:v>
                </c:pt>
                <c:pt idx="3" formatCode="0">
                  <c:v>397</c:v>
                </c:pt>
                <c:pt idx="4" formatCode="0">
                  <c:v>407</c:v>
                </c:pt>
                <c:pt idx="5" formatCode="0">
                  <c:v>520</c:v>
                </c:pt>
                <c:pt idx="6" formatCode="0">
                  <c:v>539.75</c:v>
                </c:pt>
                <c:pt idx="7">
                  <c:v>533.38300000000004</c:v>
                </c:pt>
                <c:pt idx="8" formatCode="0">
                  <c:v>509</c:v>
                </c:pt>
                <c:pt idx="9" formatCode="General">
                  <c:v>517</c:v>
                </c:pt>
                <c:pt idx="10" formatCode="General">
                  <c:v>503</c:v>
                </c:pt>
                <c:pt idx="11" formatCode="General">
                  <c:v>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F3-487F-A522-DF5F6AEBCD05}"/>
            </c:ext>
          </c:extLst>
        </c:ser>
        <c:ser>
          <c:idx val="2"/>
          <c:order val="2"/>
          <c:tx>
            <c:strRef>
              <c:f>List2!$I$5</c:f>
              <c:strCache>
                <c:ptCount val="1"/>
                <c:pt idx="0">
                  <c:v>ATV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I$24:$I$35</c:f>
              <c:numCache>
                <c:formatCode>General</c:formatCode>
                <c:ptCount val="12"/>
                <c:pt idx="0" formatCode="0">
                  <c:v>198</c:v>
                </c:pt>
                <c:pt idx="1">
                  <c:v>254</c:v>
                </c:pt>
                <c:pt idx="2" formatCode="0">
                  <c:v>293</c:v>
                </c:pt>
                <c:pt idx="3" formatCode="0">
                  <c:v>314</c:v>
                </c:pt>
                <c:pt idx="4" formatCode="0">
                  <c:v>324</c:v>
                </c:pt>
                <c:pt idx="5" formatCode="0">
                  <c:v>417</c:v>
                </c:pt>
                <c:pt idx="6" formatCode="0">
                  <c:v>421.22</c:v>
                </c:pt>
                <c:pt idx="7" formatCode="#,##0">
                  <c:v>418.71699999999998</c:v>
                </c:pt>
                <c:pt idx="8" formatCode="0">
                  <c:v>397</c:v>
                </c:pt>
                <c:pt idx="9">
                  <c:v>391</c:v>
                </c:pt>
                <c:pt idx="10">
                  <c:v>371</c:v>
                </c:pt>
                <c:pt idx="11">
                  <c:v>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DC-4A20-A656-5AD349A48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290704"/>
        <c:axId val="631291120"/>
      </c:lineChart>
      <c:catAx>
        <c:axId val="63129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31291120"/>
        <c:crosses val="autoZero"/>
        <c:auto val="1"/>
        <c:lblAlgn val="ctr"/>
        <c:lblOffset val="100"/>
        <c:noMultiLvlLbl val="0"/>
      </c:catAx>
      <c:valAx>
        <c:axId val="63129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5829A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31290704"/>
        <c:crosses val="autoZero"/>
        <c:crossBetween val="between"/>
      </c:valAx>
      <c:valAx>
        <c:axId val="6312857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31278224"/>
        <c:crosses val="max"/>
        <c:crossBetween val="between"/>
      </c:valAx>
      <c:catAx>
        <c:axId val="631278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1285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52499017289578"/>
          <c:y val="0.91668902378048001"/>
          <c:w val="0.19148194450218772"/>
          <c:h val="5.07235554991671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2442099999999996</c:v>
                </c:pt>
                <c:pt idx="1">
                  <c:v>0.80092099999999999</c:v>
                </c:pt>
                <c:pt idx="2">
                  <c:v>0.80295799999999995</c:v>
                </c:pt>
                <c:pt idx="3">
                  <c:v>0.78203999999999996</c:v>
                </c:pt>
                <c:pt idx="4">
                  <c:v>0.71845399999999993</c:v>
                </c:pt>
                <c:pt idx="5">
                  <c:v>0.65851000000000004</c:v>
                </c:pt>
                <c:pt idx="6">
                  <c:v>0.64454899999999993</c:v>
                </c:pt>
                <c:pt idx="7">
                  <c:v>0.68837500000000007</c:v>
                </c:pt>
                <c:pt idx="8">
                  <c:v>0.26045099999999999</c:v>
                </c:pt>
                <c:pt idx="9">
                  <c:v>0.54697400000000007</c:v>
                </c:pt>
                <c:pt idx="10">
                  <c:v>0.44753100000000001</c:v>
                </c:pt>
                <c:pt idx="11">
                  <c:v>0.47099200000000002</c:v>
                </c:pt>
                <c:pt idx="12">
                  <c:v>0.58849200000000002</c:v>
                </c:pt>
                <c:pt idx="13">
                  <c:v>0.54125500000000004</c:v>
                </c:pt>
                <c:pt idx="14">
                  <c:v>0.46567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60-48FB-A82A-4FEACA6AA12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960-48FB-A82A-4FEACA6AA12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960-48FB-A82A-4FEACA6AA12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960-48FB-A82A-4FEACA6AA12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960-48FB-A82A-4FEACA6AA12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960-48FB-A82A-4FEACA6AA12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960-48FB-A82A-4FEACA6AA12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960-48FB-A82A-4FEACA6AA12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960-48FB-A82A-4FEACA6AA12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960-48FB-A82A-4FEACA6AA1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7999999999999999E-2</c:v>
                </c:pt>
                <c:pt idx="1">
                  <c:v>1.4E-2</c:v>
                </c:pt>
                <c:pt idx="2">
                  <c:v>1.2E-2</c:v>
                </c:pt>
                <c:pt idx="3">
                  <c:v>1.2E-2</c:v>
                </c:pt>
                <c:pt idx="4">
                  <c:v>1.0999999999999999E-2</c:v>
                </c:pt>
                <c:pt idx="5">
                  <c:v>0.01</c:v>
                </c:pt>
                <c:pt idx="6">
                  <c:v>0.01</c:v>
                </c:pt>
                <c:pt idx="7">
                  <c:v>8.9999999999999993E-3</c:v>
                </c:pt>
                <c:pt idx="8">
                  <c:v>8.0000000000000002E-3</c:v>
                </c:pt>
                <c:pt idx="9">
                  <c:v>7.0000000000000001E-3</c:v>
                </c:pt>
                <c:pt idx="10">
                  <c:v>7.0000000000000001E-3</c:v>
                </c:pt>
                <c:pt idx="11">
                  <c:v>6.0000000000000001E-3</c:v>
                </c:pt>
                <c:pt idx="12">
                  <c:v>6.0000000000000001E-3</c:v>
                </c:pt>
                <c:pt idx="13">
                  <c:v>6.0000000000000001E-3</c:v>
                </c:pt>
                <c:pt idx="14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60-48FB-A82A-4FEACA6AA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CDF-4FD2-BBAE-D0BA3EC025A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CDF-4FD2-BBAE-D0BA3EC025A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DF-4FD2-BBAE-D0BA3EC025A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CDF-4FD2-BBAE-D0BA3EC025A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CDF-4FD2-BBAE-D0BA3EC025A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CDF-4FD2-BBAE-D0BA3EC025A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CDF-4FD2-BBAE-D0BA3EC025A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CDF-4FD2-BBAE-D0BA3EC025A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CDF-4FD2-BBAE-D0BA3EC025A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CDF-4FD2-BBAE-D0BA3EC025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0000000000000001E-3</c:v>
                </c:pt>
                <c:pt idx="1">
                  <c:v>3.0000000000000001E-3</c:v>
                </c:pt>
                <c:pt idx="2">
                  <c:v>3.0000000000000001E-3</c:v>
                </c:pt>
                <c:pt idx="3">
                  <c:v>3.0000000000000001E-3</c:v>
                </c:pt>
                <c:pt idx="4">
                  <c:v>2E-3</c:v>
                </c:pt>
                <c:pt idx="5">
                  <c:v>2E-3</c:v>
                </c:pt>
                <c:pt idx="6">
                  <c:v>2E-3</c:v>
                </c:pt>
                <c:pt idx="7">
                  <c:v>2E-3</c:v>
                </c:pt>
                <c:pt idx="8">
                  <c:v>2E-3</c:v>
                </c:pt>
                <c:pt idx="9">
                  <c:v>2E-3</c:v>
                </c:pt>
                <c:pt idx="10">
                  <c:v>2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DF-4FD2-BBAE-D0BA3EC02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CC-4D43-A4DB-EDD4E791AD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CC-4D43-A4DB-EDD4E791AD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FCC-4D43-A4DB-EDD4E791AD8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CC-4D43-A4DB-EDD4E791AD8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FCC-4D43-A4DB-EDD4E791AD8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FCC-4D43-A4DB-EDD4E791AD8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FCC-4D43-A4DB-EDD4E791AD8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FCC-4D43-A4DB-EDD4E791AD8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FCC-4D43-A4DB-EDD4E791AD8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FCC-4D43-A4DB-EDD4E791AD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6045099999999999</c:v>
                </c:pt>
                <c:pt idx="1">
                  <c:v>0.44753100000000001</c:v>
                </c:pt>
                <c:pt idx="2">
                  <c:v>0.47099200000000002</c:v>
                </c:pt>
                <c:pt idx="3">
                  <c:v>0.58849200000000002</c:v>
                </c:pt>
                <c:pt idx="4">
                  <c:v>0.54125500000000004</c:v>
                </c:pt>
                <c:pt idx="5">
                  <c:v>0.46567700000000001</c:v>
                </c:pt>
                <c:pt idx="6">
                  <c:v>0.149927</c:v>
                </c:pt>
                <c:pt idx="7">
                  <c:v>0.42484699999999997</c:v>
                </c:pt>
                <c:pt idx="8">
                  <c:v>0.51729799999999992</c:v>
                </c:pt>
                <c:pt idx="9">
                  <c:v>0.37833500000000003</c:v>
                </c:pt>
                <c:pt idx="10">
                  <c:v>0.47515700000000005</c:v>
                </c:pt>
                <c:pt idx="11">
                  <c:v>0.43440600000000001</c:v>
                </c:pt>
                <c:pt idx="12">
                  <c:v>0.33768900000000002</c:v>
                </c:pt>
                <c:pt idx="13">
                  <c:v>0.159356</c:v>
                </c:pt>
                <c:pt idx="14">
                  <c:v>0.133392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CC-4D43-A4DB-EDD4E791A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sr-Latn-R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13BF5-BA33-4D87-8729-6B6071720883}" type="datetimeFigureOut">
              <a:rPr lang="en-US" smtClean="0"/>
              <a:t>7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79926C-EB85-43BC-B4A9-DC340E8732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2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TV-total tv kanali (svi zemaljski i nezemaljski) u </a:t>
            </a:r>
            <a:endParaRPr lang="hr-HR" dirty="0"/>
          </a:p>
          <a:p>
            <a:r>
              <a:rPr lang="hr-HR" dirty="0"/>
              <a:t>AMR</a:t>
            </a:r>
            <a:br>
              <a:rPr lang="hr-HR" dirty="0"/>
            </a:br>
            <a:r>
              <a:rPr lang="hr-HR" dirty="0"/>
              <a:t>A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9926C-EB85-43BC-B4A9-DC340E8732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40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/>
            <a:fld id="{E6723BED-33AB-4D74-A326-EFE42B737403}" type="slidenum">
              <a:rPr lang="de-DE" sz="900" b="0" noProof="0" smtClean="0">
                <a:solidFill>
                  <a:schemeClr val="bg1">
                    <a:lumMod val="65000"/>
                  </a:schemeClr>
                </a:solidFill>
                <a:latin typeface="+mn-lt"/>
                <a:cs typeface="Museo 300"/>
              </a:rPr>
              <a:pPr lvl="0" algn="ctr"/>
              <a:t>‹#›</a:t>
            </a:fld>
            <a:endParaRPr lang="de-DE" sz="900" b="0" noProof="0" dirty="0">
              <a:solidFill>
                <a:schemeClr val="bg1">
                  <a:lumMod val="65000"/>
                </a:schemeClr>
              </a:solidFill>
              <a:latin typeface="+mn-lt"/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8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84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5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" y="0"/>
            <a:ext cx="12192528" cy="6858000"/>
          </a:xfrm>
          <a:prstGeom prst="rect">
            <a:avLst/>
          </a:prstGeom>
          <a:gradFill flip="none" rotWithShape="1">
            <a:gsLst>
              <a:gs pos="0">
                <a:srgbClr val="20242C"/>
              </a:gs>
              <a:gs pos="38000">
                <a:srgbClr val="2F354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0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603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5590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6" r:id="rId2"/>
    <p:sldLayoutId id="2147483690" r:id="rId3"/>
    <p:sldLayoutId id="2147483651" r:id="rId4"/>
    <p:sldLayoutId id="21474836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28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94E9005-5D00-4519-B139-8A5A8638AB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41" y="1105481"/>
            <a:ext cx="2522118" cy="443341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7B20ADE1-C66E-4679-9F31-35EB2AD5C90A}"/>
              </a:ext>
            </a:extLst>
          </p:cNvPr>
          <p:cNvSpPr/>
          <p:nvPr/>
        </p:nvSpPr>
        <p:spPr>
          <a:xfrm>
            <a:off x="1069041" y="1860968"/>
            <a:ext cx="7824588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0" i="0" u="none" strike="noStrike" kern="1200" cap="none" normalizeH="0" baseline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Gledanost televizijskog program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>
              <a:solidFill>
                <a:srgbClr val="FFFFFF"/>
              </a:solidFill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kumimoji="0" lang="hr-HR" b="0" i="0" u="none" strike="noStrike" kern="1200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CEB83A7-3EAC-4EED-B6E6-2CB59C7C56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0499" y="1105481"/>
            <a:ext cx="2522118" cy="440611"/>
          </a:xfrm>
          <a:prstGeom prst="rect">
            <a:avLst/>
          </a:prstGeom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AC9E90FC-A16B-4F2F-AB71-1A15AFC0F4DF}"/>
              </a:ext>
            </a:extLst>
          </p:cNvPr>
          <p:cNvSpPr/>
          <p:nvPr/>
        </p:nvSpPr>
        <p:spPr>
          <a:xfrm>
            <a:off x="1069041" y="5508391"/>
            <a:ext cx="4442207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traživanje provodi tvrtka AdScanner d.o.o. na uzorku od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900 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ućanstava koja predstavljaju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20.000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Pay TV kućanstava u Republici Hrvatskoj.</a:t>
            </a:r>
          </a:p>
          <a:p>
            <a:pPr>
              <a:lnSpc>
                <a:spcPct val="90000"/>
              </a:lnSpc>
            </a:pPr>
            <a:endParaRPr lang="hr-HR" sz="1400" dirty="0">
              <a:solidFill>
                <a:srgbClr val="75829A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51C8F44-19FD-4506-B2CB-EF728F53C8BC}"/>
              </a:ext>
            </a:extLst>
          </p:cNvPr>
          <p:cNvGrpSpPr/>
          <p:nvPr/>
        </p:nvGrpSpPr>
        <p:grpSpPr>
          <a:xfrm>
            <a:off x="4111959" y="1105481"/>
            <a:ext cx="429985" cy="440611"/>
            <a:chOff x="5492964" y="838200"/>
            <a:chExt cx="429985" cy="751297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81E6EB18-B7DA-45A1-9553-632F98B1D2B2}"/>
                </a:ext>
              </a:extLst>
            </p:cNvPr>
            <p:cNvCxnSpPr/>
            <p:nvPr/>
          </p:nvCxnSpPr>
          <p:spPr>
            <a:xfrm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6F6E5A3-4246-42A5-8389-821C82EF12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010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-10367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/>
                <a:ea typeface="+mn-ea"/>
                <a:cs typeface="+mn-cs"/>
              </a:rPr>
              <a:t>KOMPARATIVNA ANALIZA PODATAK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5EC0E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5868148" y="595169"/>
            <a:ext cx="2138576" cy="3224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75829A"/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SRPANJ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2.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3. 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8" name="Grafik 8">
            <a:extLst>
              <a:ext uri="{FF2B5EF4-FFF2-40B4-BE49-F238E27FC236}">
                <a16:creationId xmlns:a16="http://schemas.microsoft.com/office/drawing/2014/main" id="{6CE61FCD-B8FC-429B-8DA2-6F1CA5DFB3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655" y="6389773"/>
            <a:ext cx="1280246" cy="225044"/>
          </a:xfrm>
          <a:prstGeom prst="rect">
            <a:avLst/>
          </a:prstGeom>
        </p:spPr>
      </p:pic>
      <p:sp>
        <p:nvSpPr>
          <p:cNvPr id="30" name="Rectangle 14">
            <a:extLst>
              <a:ext uri="{FF2B5EF4-FFF2-40B4-BE49-F238E27FC236}">
                <a16:creationId xmlns:a16="http://schemas.microsoft.com/office/drawing/2014/main" id="{795AB9BD-4BAB-48A5-863F-003434BAD122}"/>
              </a:ext>
            </a:extLst>
          </p:cNvPr>
          <p:cNvSpPr/>
          <p:nvPr/>
        </p:nvSpPr>
        <p:spPr>
          <a:xfrm>
            <a:off x="2751869" y="6214511"/>
            <a:ext cx="4138245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medium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twitter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data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https://cdn-images-1.medium.com/max/1600/1*emiGsBgJu2KHWyjluhKXQw.png">
            <a:extLst>
              <a:ext uri="{FF2B5EF4-FFF2-40B4-BE49-F238E27FC236}">
                <a16:creationId xmlns:a16="http://schemas.microsoft.com/office/drawing/2014/main" id="{36D0AAB5-2040-4FFE-BAB9-5A98EEEDC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256347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Image result for twitter icon">
            <a:extLst>
              <a:ext uri="{FF2B5EF4-FFF2-40B4-BE49-F238E27FC236}">
                <a16:creationId xmlns:a16="http://schemas.microsoft.com/office/drawing/2014/main" id="{3756E231-11B1-48A7-9648-F29DE3C84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51391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63325490-1164-4089-8475-16331EB8F78F}"/>
              </a:ext>
            </a:extLst>
          </p:cNvPr>
          <p:cNvSpPr/>
          <p:nvPr/>
        </p:nvSpPr>
        <p:spPr>
          <a:xfrm>
            <a:off x="2372304" y="902871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MI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0" name="Grafikon 19">
            <a:extLst>
              <a:ext uri="{FF2B5EF4-FFF2-40B4-BE49-F238E27FC236}">
                <a16:creationId xmlns:a16="http://schemas.microsoft.com/office/drawing/2014/main" id="{8542C7B1-CAD2-4DFB-A413-E3E175AE3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5051559"/>
              </p:ext>
            </p:extLst>
          </p:nvPr>
        </p:nvGraphicFramePr>
        <p:xfrm>
          <a:off x="2314988" y="1127481"/>
          <a:ext cx="9308439" cy="4539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Rectangle 1">
            <a:extLst>
              <a:ext uri="{FF2B5EF4-FFF2-40B4-BE49-F238E27FC236}">
                <a16:creationId xmlns:a16="http://schemas.microsoft.com/office/drawing/2014/main" id="{6186077E-C373-42D5-B34E-554FABAE6D15}"/>
              </a:ext>
            </a:extLst>
          </p:cNvPr>
          <p:cNvSpPr/>
          <p:nvPr/>
        </p:nvSpPr>
        <p:spPr>
          <a:xfrm>
            <a:off x="11180036" y="917647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056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719369"/>
              </p:ext>
            </p:extLst>
          </p:nvPr>
        </p:nvGraphicFramePr>
        <p:xfrm>
          <a:off x="2868194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198780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292194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NAJGLEDANIJIH 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9573342"/>
              </p:ext>
            </p:extLst>
          </p:nvPr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2879690"/>
              </p:ext>
            </p:extLst>
          </p:nvPr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0350401"/>
              </p:ext>
            </p:extLst>
          </p:nvPr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</p:spTree>
    <p:extLst>
      <p:ext uri="{BB962C8B-B14F-4D97-AF65-F5344CB8AC3E}">
        <p14:creationId xmlns:p14="http://schemas.microsoft.com/office/powerpoint/2010/main" val="1242722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9045"/>
              </p:ext>
            </p:extLst>
          </p:nvPr>
        </p:nvGraphicFramePr>
        <p:xfrm>
          <a:off x="2868194" y="1117953"/>
          <a:ext cx="8562057" cy="5310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2094102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185898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ISTORY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/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/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/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7" name="Diagramm 5">
            <a:extLst>
              <a:ext uri="{FF2B5EF4-FFF2-40B4-BE49-F238E27FC236}">
                <a16:creationId xmlns:a16="http://schemas.microsoft.com/office/drawing/2014/main" id="{9CAFB9D1-A4D3-D026-9CF1-97053B2CFA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2796848"/>
              </p:ext>
            </p:extLst>
          </p:nvPr>
        </p:nvGraphicFramePr>
        <p:xfrm>
          <a:off x="5544490" y="1119406"/>
          <a:ext cx="1944000" cy="5288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Diagramm 8">
            <a:extLst>
              <a:ext uri="{FF2B5EF4-FFF2-40B4-BE49-F238E27FC236}">
                <a16:creationId xmlns:a16="http://schemas.microsoft.com/office/drawing/2014/main" id="{EACBFDC3-A332-4D64-8979-CAF4D766A5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3780711"/>
              </p:ext>
            </p:extLst>
          </p:nvPr>
        </p:nvGraphicFramePr>
        <p:xfrm>
          <a:off x="7576884" y="1126035"/>
          <a:ext cx="1944000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Diagramm 11">
            <a:extLst>
              <a:ext uri="{FF2B5EF4-FFF2-40B4-BE49-F238E27FC236}">
                <a16:creationId xmlns:a16="http://schemas.microsoft.com/office/drawing/2014/main" id="{184DDBD7-53B9-2E21-E158-61A040E612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1643309"/>
              </p:ext>
            </p:extLst>
          </p:nvPr>
        </p:nvGraphicFramePr>
        <p:xfrm>
          <a:off x="9609277" y="1126035"/>
          <a:ext cx="2336645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69221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724264"/>
              </p:ext>
            </p:extLst>
          </p:nvPr>
        </p:nvGraphicFramePr>
        <p:xfrm>
          <a:off x="2627652" y="806138"/>
          <a:ext cx="9287210" cy="55922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6700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39609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114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3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fina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3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Hrvatsk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4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Hrvatsk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6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6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2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. City – Inter (fina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:17 Večernje vijest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217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:49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l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nl-NL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5 RTL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k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1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vjereno</a:t>
                      </a:r>
                      <a:endParaRPr lang="sv-SE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</a:t>
                      </a: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24 Split: Mor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</a:t>
                      </a: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260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Na granici</a:t>
                      </a:r>
                      <a:endParaRPr lang="sv-SE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5446311"/>
              </p:ext>
            </p:extLst>
          </p:nvPr>
        </p:nvGraphicFramePr>
        <p:xfrm>
          <a:off x="6887474" y="806137"/>
          <a:ext cx="1911086" cy="5575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476760"/>
              </p:ext>
            </p:extLst>
          </p:nvPr>
        </p:nvGraphicFramePr>
        <p:xfrm>
          <a:off x="8472916" y="806137"/>
          <a:ext cx="1685491" cy="5575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0511524"/>
              </p:ext>
            </p:extLst>
          </p:nvPr>
        </p:nvGraphicFramePr>
        <p:xfrm>
          <a:off x="10158407" y="806136"/>
          <a:ext cx="1685491" cy="5575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3828325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777026"/>
              </p:ext>
            </p:extLst>
          </p:nvPr>
        </p:nvGraphicFramePr>
        <p:xfrm>
          <a:off x="2619026" y="793734"/>
          <a:ext cx="9287210" cy="56083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1975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1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:00 </a:t>
                      </a:r>
                      <a:r>
                        <a:rPr lang="it-IT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Coppa Italia: Playoff – Final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118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Finale: Fiorentina - West Ha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Studio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bojic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vratak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107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2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i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ijel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sin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:4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underman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3: Parabellu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6751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5 Navy CI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0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ć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bitelj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asnić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V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li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jubav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.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3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rod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lag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10 Henry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pasan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Europ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ra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87036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Tyler Perry's Young Dyla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4365811"/>
              </p:ext>
            </p:extLst>
          </p:nvPr>
        </p:nvGraphicFramePr>
        <p:xfrm>
          <a:off x="6887474" y="780259"/>
          <a:ext cx="1870446" cy="5634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7229186"/>
              </p:ext>
            </p:extLst>
          </p:nvPr>
        </p:nvGraphicFramePr>
        <p:xfrm>
          <a:off x="8472916" y="780259"/>
          <a:ext cx="1685491" cy="5634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1591261"/>
              </p:ext>
            </p:extLst>
          </p:nvPr>
        </p:nvGraphicFramePr>
        <p:xfrm>
          <a:off x="10158407" y="780259"/>
          <a:ext cx="1685491" cy="5634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1878008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9436929"/>
              </p:ext>
            </p:extLst>
          </p:nvPr>
        </p:nvGraphicFramePr>
        <p:xfrm>
          <a:off x="2851416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2748204"/>
              </p:ext>
            </p:extLst>
          </p:nvPr>
        </p:nvGraphicFramePr>
        <p:xfrm>
          <a:off x="7568495" y="1117946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7274993"/>
              </p:ext>
            </p:extLst>
          </p:nvPr>
        </p:nvGraphicFramePr>
        <p:xfrm>
          <a:off x="9600889" y="1117945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4" name="Diagramm 5">
            <a:extLst>
              <a:ext uri="{FF2B5EF4-FFF2-40B4-BE49-F238E27FC236}">
                <a16:creationId xmlns:a16="http://schemas.microsoft.com/office/drawing/2014/main" id="{B7CB1606-850C-8204-34E0-01348370B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2444785"/>
              </p:ext>
            </p:extLst>
          </p:nvPr>
        </p:nvGraphicFramePr>
        <p:xfrm>
          <a:off x="5552879" y="1117950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4823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354179"/>
              </p:ext>
            </p:extLst>
          </p:nvPr>
        </p:nvGraphicFramePr>
        <p:xfrm>
          <a:off x="2851416" y="1114890"/>
          <a:ext cx="8562057" cy="527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PREMIERE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PREMIERE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V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BC FIRS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NAJGLEDANIJIH TELEVIZIJSK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484048"/>
              </p:ext>
            </p:extLst>
          </p:nvPr>
        </p:nvGraphicFramePr>
        <p:xfrm>
          <a:off x="5536101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58556"/>
              </p:ext>
            </p:extLst>
          </p:nvPr>
        </p:nvGraphicFramePr>
        <p:xfrm>
          <a:off x="7568495" y="1114890"/>
          <a:ext cx="1944000" cy="5281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275732"/>
              </p:ext>
            </p:extLst>
          </p:nvPr>
        </p:nvGraphicFramePr>
        <p:xfrm>
          <a:off x="9600889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536101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587413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600889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3109888" y="891989"/>
            <a:ext cx="1569665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37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14084"/>
              </p:ext>
            </p:extLst>
          </p:nvPr>
        </p:nvGraphicFramePr>
        <p:xfrm>
          <a:off x="2556688" y="802679"/>
          <a:ext cx="9287210" cy="56307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19241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2018558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5695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7 Liga Nacija: Hrvatska - Španjolska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2 Liga Nacija: Nizozemska - Hrvatska (polu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45 Liga Nacija: Španjolska - Italija (polu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Liga Nacija: Nizozemska - Hrvatsk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9138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6 Liga Nacija: Hrvatska - Španjolsk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56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1 Liga prvaka: Man City - Inter - fina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3 Liga Nacija: Španjolska - Italij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4175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5 RTL Direk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844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Nove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8733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Na granic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27 Stanje nacij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Večera za 5 na sel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24 Superp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751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Zlatni kavez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5104304"/>
              </p:ext>
            </p:extLst>
          </p:nvPr>
        </p:nvGraphicFramePr>
        <p:xfrm>
          <a:off x="6887474" y="800316"/>
          <a:ext cx="1685491" cy="5589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5189510"/>
              </p:ext>
            </p:extLst>
          </p:nvPr>
        </p:nvGraphicFramePr>
        <p:xfrm>
          <a:off x="8472916" y="793101"/>
          <a:ext cx="1685491" cy="5597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0661202"/>
              </p:ext>
            </p:extLst>
          </p:nvPr>
        </p:nvGraphicFramePr>
        <p:xfrm>
          <a:off x="10158407" y="800317"/>
          <a:ext cx="1685491" cy="5589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235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222040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346872"/>
              </p:ext>
            </p:extLst>
          </p:nvPr>
        </p:nvGraphicFramePr>
        <p:xfrm>
          <a:off x="2627652" y="806138"/>
          <a:ext cx="9287210" cy="56611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458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63333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18966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Konferencijska liga: Fiorentina - West Ham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Ledeni ubojica: Povrata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20 Velika bijela psi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3: Parabellu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7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5 Navy CI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Europa iz zrak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315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Tyler Perry's Young Dyla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10 An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iga prvaka: Man City – Inter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Automobili iz snova - Unutar tvorni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20 Henry Opasa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0 Park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5 Djevojke na zadatk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361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15 Bratstvo lopo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0189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593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graphicFrame>
        <p:nvGraphicFramePr>
          <p:cNvPr id="5" name="Diagramm 5">
            <a:extLst>
              <a:ext uri="{FF2B5EF4-FFF2-40B4-BE49-F238E27FC236}">
                <a16:creationId xmlns:a16="http://schemas.microsoft.com/office/drawing/2014/main" id="{66AFE09E-77CC-AD9A-5355-59B25F4AC6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2086031"/>
              </p:ext>
            </p:extLst>
          </p:nvPr>
        </p:nvGraphicFramePr>
        <p:xfrm>
          <a:off x="688747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8">
            <a:extLst>
              <a:ext uri="{FF2B5EF4-FFF2-40B4-BE49-F238E27FC236}">
                <a16:creationId xmlns:a16="http://schemas.microsoft.com/office/drawing/2014/main" id="{17DCC2E4-D1B1-0F68-7FA0-D659D79053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6454296"/>
              </p:ext>
            </p:extLst>
          </p:nvPr>
        </p:nvGraphicFramePr>
        <p:xfrm>
          <a:off x="840189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11">
            <a:extLst>
              <a:ext uri="{FF2B5EF4-FFF2-40B4-BE49-F238E27FC236}">
                <a16:creationId xmlns:a16="http://schemas.microsoft.com/office/drawing/2014/main" id="{D339819E-051C-EDD0-D49E-AA14580B1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8089691"/>
              </p:ext>
            </p:extLst>
          </p:nvPr>
        </p:nvGraphicFramePr>
        <p:xfrm>
          <a:off x="10158407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8017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dscanner">
      <a:dk1>
        <a:srgbClr val="2F3540"/>
      </a:dk1>
      <a:lt1>
        <a:srgbClr val="FFFFFF"/>
      </a:lt1>
      <a:dk2>
        <a:srgbClr val="2F3540"/>
      </a:dk2>
      <a:lt2>
        <a:srgbClr val="FFFFFF"/>
      </a:lt2>
      <a:accent1>
        <a:srgbClr val="007787"/>
      </a:accent1>
      <a:accent2>
        <a:srgbClr val="5EC0ED"/>
      </a:accent2>
      <a:accent3>
        <a:srgbClr val="2EC4B6"/>
      </a:accent3>
      <a:accent4>
        <a:srgbClr val="FFC000"/>
      </a:accent4>
      <a:accent5>
        <a:srgbClr val="FF5050"/>
      </a:accent5>
      <a:accent6>
        <a:srgbClr val="D65495"/>
      </a:accent6>
      <a:hlink>
        <a:srgbClr val="2F3540"/>
      </a:hlink>
      <a:folHlink>
        <a:srgbClr val="2F3540"/>
      </a:folHlink>
    </a:clrScheme>
    <a:fontScheme name="Benutzerdefiniert 6">
      <a:majorFont>
        <a:latin typeface="Open Sans Extra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</a:schemeClr>
        </a:solidFill>
        <a:ln>
          <a:noFill/>
          <a:prstDash val="solid"/>
          <a:headEnd type="none" w="med" len="med"/>
          <a:tailEnd type="triangl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86878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51</TotalTime>
  <Words>1209</Words>
  <Application>Microsoft Office PowerPoint</Application>
  <PresentationFormat>Widescreen</PresentationFormat>
  <Paragraphs>468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Open Sans Extrabold</vt:lpstr>
      <vt:lpstr>Open Sans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Benzon</dc:creator>
  <cp:keywords/>
  <dc:description/>
  <cp:lastModifiedBy>Nika Orsanic</cp:lastModifiedBy>
  <cp:revision>1200</cp:revision>
  <cp:lastPrinted>2016-03-30T09:24:25Z</cp:lastPrinted>
  <dcterms:created xsi:type="dcterms:W3CDTF">2015-04-13T19:03:49Z</dcterms:created>
  <dcterms:modified xsi:type="dcterms:W3CDTF">2023-07-07T11:38:15Z</dcterms:modified>
  <cp:category/>
  <cp:contentStatus/>
</cp:coreProperties>
</file>